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9553" r:id="rId2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erradillos Calzada, Laura" userId="dbe6c70e-0f21-4071-93a9-58c9fb936098" providerId="ADAL" clId="{992186D0-6459-48EE-847C-5256D0A3978C}"/>
    <pc:docChg chg="undo custSel modSld">
      <pc:chgData name="Terradillos Calzada, Laura" userId="dbe6c70e-0f21-4071-93a9-58c9fb936098" providerId="ADAL" clId="{992186D0-6459-48EE-847C-5256D0A3978C}" dt="2024-03-22T08:14:47.340" v="156"/>
      <pc:docMkLst>
        <pc:docMk/>
      </pc:docMkLst>
      <pc:sldChg chg="addSp delSp modSp mod">
        <pc:chgData name="Terradillos Calzada, Laura" userId="dbe6c70e-0f21-4071-93a9-58c9fb936098" providerId="ADAL" clId="{992186D0-6459-48EE-847C-5256D0A3978C}" dt="2024-03-22T08:14:47.340" v="156"/>
        <pc:sldMkLst>
          <pc:docMk/>
          <pc:sldMk cId="3675051286" sldId="2147479553"/>
        </pc:sldMkLst>
        <pc:spChg chg="del topLvl">
          <ac:chgData name="Terradillos Calzada, Laura" userId="dbe6c70e-0f21-4071-93a9-58c9fb936098" providerId="ADAL" clId="{992186D0-6459-48EE-847C-5256D0A3978C}" dt="2024-03-21T21:15:13.794" v="1" actId="478"/>
          <ac:spMkLst>
            <pc:docMk/>
            <pc:sldMk cId="3675051286" sldId="2147479553"/>
            <ac:spMk id="3" creationId="{BA0AC048-66BD-A718-9E16-3DA689D186E9}"/>
          </ac:spMkLst>
        </pc:spChg>
        <pc:spChg chg="add mod">
          <ac:chgData name="Terradillos Calzada, Laura" userId="dbe6c70e-0f21-4071-93a9-58c9fb936098" providerId="ADAL" clId="{992186D0-6459-48EE-847C-5256D0A3978C}" dt="2024-03-21T21:17:53.724" v="128" actId="2085"/>
          <ac:spMkLst>
            <pc:docMk/>
            <pc:sldMk cId="3675051286" sldId="2147479553"/>
            <ac:spMk id="6" creationId="{7CE0BF76-F187-EEBE-A3D8-37502529D207}"/>
          </ac:spMkLst>
        </pc:spChg>
        <pc:spChg chg="mod">
          <ac:chgData name="Terradillos Calzada, Laura" userId="dbe6c70e-0f21-4071-93a9-58c9fb936098" providerId="ADAL" clId="{992186D0-6459-48EE-847C-5256D0A3978C}" dt="2024-03-22T08:14:47.340" v="156"/>
          <ac:spMkLst>
            <pc:docMk/>
            <pc:sldMk cId="3675051286" sldId="2147479553"/>
            <ac:spMk id="7" creationId="{E70A6AB2-D2BB-C010-381C-F4FC17337AFD}"/>
          </ac:spMkLst>
        </pc:spChg>
        <pc:spChg chg="mod">
          <ac:chgData name="Terradillos Calzada, Laura" userId="dbe6c70e-0f21-4071-93a9-58c9fb936098" providerId="ADAL" clId="{992186D0-6459-48EE-847C-5256D0A3978C}" dt="2024-03-21T21:18:51.653" v="129" actId="20577"/>
          <ac:spMkLst>
            <pc:docMk/>
            <pc:sldMk cId="3675051286" sldId="2147479553"/>
            <ac:spMk id="18" creationId="{E0E52A99-4D29-69D7-294C-EB8CE658D71A}"/>
          </ac:spMkLst>
        </pc:spChg>
        <pc:grpChg chg="del">
          <ac:chgData name="Terradillos Calzada, Laura" userId="dbe6c70e-0f21-4071-93a9-58c9fb936098" providerId="ADAL" clId="{992186D0-6459-48EE-847C-5256D0A3978C}" dt="2024-03-21T21:15:12.126" v="0" actId="478"/>
          <ac:grpSpMkLst>
            <pc:docMk/>
            <pc:sldMk cId="3675051286" sldId="2147479553"/>
            <ac:grpSpMk id="2" creationId="{09C19C3C-6759-BE81-92B0-EC3E2A38AAD8}"/>
          </ac:grpSpMkLst>
        </pc:grpChg>
        <pc:picChg chg="del topLvl">
          <ac:chgData name="Terradillos Calzada, Laura" userId="dbe6c70e-0f21-4071-93a9-58c9fb936098" providerId="ADAL" clId="{992186D0-6459-48EE-847C-5256D0A3978C}" dt="2024-03-21T21:15:12.126" v="0" actId="478"/>
          <ac:picMkLst>
            <pc:docMk/>
            <pc:sldMk cId="3675051286" sldId="2147479553"/>
            <ac:picMk id="5" creationId="{220223CF-CBD8-9C5B-CBDA-740BD8E8BAB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CF87CD-2A43-4254-86C7-3CF7C0ED13CC}" type="datetimeFigureOut">
              <a:rPr lang="es-ES" smtClean="0"/>
              <a:t>22/03/2024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D8F4A-8CCE-401E-8066-6F292FB3251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58969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FB8371-504D-4982-830E-6834AFC6AD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63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332396"/>
            <a:ext cx="4446269" cy="464044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8FF819D-8656-49F8-8D13-377F92D57DB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88B839E7-E4F5-4E57-8583-27EC92BE34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813E524-B019-4DCF-8E0E-7FC5175158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47852CCF-F3FA-40A6-A0A0-541D4C1CC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700C1990-CE3B-4666-845F-A7F30A14F7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D05894B7-6E6C-4D59-985F-5BA383EB96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147930CD-C198-4B6D-9922-019E8EFCD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3622BD0-9FCF-4621-AC22-A7FED30C0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5DC33FBD-B82E-4E8C-9721-6A860A5A4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E8233E91-7829-483C-A411-4A357EBC93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46DA2FD7-6566-49AF-8608-074B872984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68358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7645" y="801281"/>
            <a:ext cx="10945284" cy="698500"/>
          </a:xfrm>
        </p:spPr>
        <p:txBody>
          <a:bodyPr/>
          <a:lstStyle>
            <a:lvl1pPr>
              <a:defRPr b="1" spc="3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767645" y="1665289"/>
            <a:ext cx="1092200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304176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537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3519070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537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84515291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3852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s-ES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5976551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53660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389724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389724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389724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5983495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089808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6517348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426876474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66087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s-E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s-E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426445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389894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s-ES" noProof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A695DEC-E9CB-4EE6-B6A0-35EA322D267E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56892DF-711C-4336-AEBF-762E1CB7C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54BE607-CC12-452A-95BB-8AEB794BBE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7">
              <a:extLst>
                <a:ext uri="{FF2B5EF4-FFF2-40B4-BE49-F238E27FC236}">
                  <a16:creationId xmlns:a16="http://schemas.microsoft.com/office/drawing/2014/main" id="{AE06DD36-C381-4B3C-86D3-4123CCCA48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20BC03DC-7852-47B1-9820-005DEBD76B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4" name="Rectangle 9">
              <a:extLst>
                <a:ext uri="{FF2B5EF4-FFF2-40B4-BE49-F238E27FC236}">
                  <a16:creationId xmlns:a16="http://schemas.microsoft.com/office/drawing/2014/main" id="{07652C2F-A141-4AB0-9E2F-202CA0F5F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10">
              <a:extLst>
                <a:ext uri="{FF2B5EF4-FFF2-40B4-BE49-F238E27FC236}">
                  <a16:creationId xmlns:a16="http://schemas.microsoft.com/office/drawing/2014/main" id="{5648F6A9-F4A7-4EA4-BEB8-6F1BB21E0F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1217BB3C-3B45-4FD5-A1F2-2A4B137E8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2285CDEF-D8F9-4088-8EFE-11B02C6E1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8B4FB454-2D1E-4839-87E0-3E961CBE46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95322F62-2CA7-4C72-BE20-8B93945A32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</p:grpSp>
      <p:sp>
        <p:nvSpPr>
          <p:cNvPr id="40" name="Title 1">
            <a:extLst>
              <a:ext uri="{FF2B5EF4-FFF2-40B4-BE49-F238E27FC236}">
                <a16:creationId xmlns:a16="http://schemas.microsoft.com/office/drawing/2014/main" id="{D9B25E43-ACA5-4BFC-98CD-B96634D5AD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332396"/>
            <a:ext cx="4446269" cy="464044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9EAB4E8-FF07-4813-AF68-94C5D8EF82C0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93C9643D-F57A-4619-A533-A5D626C34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BC48B07C-A5B8-4525-987F-B4F503D5B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B0C8FC0-FCAB-42F5-8E53-EB7DC6E9A4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5AB50AE2-B1F5-4266-AAC4-1A4D6706FF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16AE63F5-4DAB-447C-B3C3-B441717580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46344750-EC4A-4491-819D-1E1836038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317D82D7-CDCF-4DDB-BE7C-297B32471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EB6D71A5-5B75-4AA0-BB39-FFA4D2ACC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F4E05926-2DC5-4321-8539-AA3664B70B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E39CBE38-26FE-433B-B069-D56A47F1C0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78451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4485462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055508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s-ES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s-ES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s-ES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s-E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D67354-589A-4134-9BF4-49073EF6916F}"/>
              </a:ext>
            </a:extLst>
          </p:cNvPr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08A8FC-38F0-4C2F-8341-81E110B7DDFA}"/>
              </a:ext>
            </a:extLst>
          </p:cNvPr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5299EA-E622-4E9E-AFE3-61DB41B094B4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97B3BB-FEAA-48F4-A091-7980D1AB72E6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73B2529-56A7-4FFC-B1F7-F63F01F98115}"/>
              </a:ext>
            </a:extLst>
          </p:cNvPr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567588-4402-4CDC-8FCF-A55003D9F3FE}"/>
              </a:ext>
            </a:extLst>
          </p:cNvPr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74408E-8D16-46D4-8635-EA86EA6982ED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7671AAE-A3E7-448B-9143-7FB98414902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11162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s-ES" noProof="0"/>
              <a:t>Click to edit Master text styles</a:t>
            </a:r>
            <a:endParaRPr lang="es-ES"/>
          </a:p>
          <a:p>
            <a:pPr lvl="1"/>
            <a:r>
              <a:rPr lang="es-ES" noProof="0"/>
              <a:t>Second level</a:t>
            </a:r>
            <a:endParaRPr lang="es-ES"/>
          </a:p>
          <a:p>
            <a:pPr lvl="2"/>
            <a:r>
              <a:rPr lang="es-ES" noProof="0"/>
              <a:t>Third level</a:t>
            </a:r>
            <a:endParaRPr lang="es-ES"/>
          </a:p>
          <a:p>
            <a:pPr lvl="3"/>
            <a:r>
              <a:rPr lang="es-ES" noProof="0"/>
              <a:t>Fourth level</a:t>
            </a:r>
            <a:endParaRPr lang="es-ES"/>
          </a:p>
          <a:p>
            <a:pPr lvl="4"/>
            <a:r>
              <a:rPr lang="es-ES" noProof="0"/>
              <a:t>Fifth level</a:t>
            </a:r>
            <a:endParaRPr lang="es-ES"/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s-ES" noProof="0"/>
              <a:t>Click to edit Master text styles</a:t>
            </a:r>
            <a:endParaRPr lang="es-ES"/>
          </a:p>
          <a:p>
            <a:pPr lvl="1"/>
            <a:r>
              <a:rPr lang="es-ES" noProof="0"/>
              <a:t>Second level</a:t>
            </a:r>
            <a:endParaRPr lang="es-ES"/>
          </a:p>
          <a:p>
            <a:pPr lvl="2"/>
            <a:r>
              <a:rPr lang="es-ES" noProof="0"/>
              <a:t>Third level</a:t>
            </a:r>
            <a:endParaRPr lang="es-ES"/>
          </a:p>
          <a:p>
            <a:pPr lvl="3"/>
            <a:r>
              <a:rPr lang="es-ES" noProof="0"/>
              <a:t>Fourth level</a:t>
            </a:r>
            <a:endParaRPr lang="es-ES"/>
          </a:p>
          <a:p>
            <a:pPr lvl="4"/>
            <a:r>
              <a:rPr lang="es-ES" noProof="0"/>
              <a:t>Fifth level</a:t>
            </a:r>
            <a:endParaRPr lang="es-ES"/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s-ES" noProof="0"/>
              <a:t>Click to edit Master text styles</a:t>
            </a:r>
            <a:endParaRPr lang="es-ES"/>
          </a:p>
          <a:p>
            <a:pPr lvl="1"/>
            <a:r>
              <a:rPr lang="es-ES" noProof="0"/>
              <a:t>Second level</a:t>
            </a:r>
            <a:endParaRPr lang="es-ES"/>
          </a:p>
          <a:p>
            <a:pPr lvl="2"/>
            <a:r>
              <a:rPr lang="es-ES" noProof="0"/>
              <a:t>Third level</a:t>
            </a:r>
            <a:endParaRPr lang="es-ES"/>
          </a:p>
          <a:p>
            <a:pPr lvl="3"/>
            <a:r>
              <a:rPr lang="es-ES" noProof="0"/>
              <a:t>Fourth level</a:t>
            </a:r>
            <a:endParaRPr lang="es-ES"/>
          </a:p>
          <a:p>
            <a:pPr lvl="4"/>
            <a:r>
              <a:rPr lang="es-ES" noProof="0"/>
              <a:t>Fifth level</a:t>
            </a:r>
            <a:endParaRPr lang="es-ES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0410703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5595507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s-E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s-E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s-E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s-ES" sz="1200" noProof="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s-E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s-ES" sz="1200" noProof="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6CB728-6065-4211-9B5B-36BB7061087A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45E81-7BCD-47BF-8332-21EC55FAE8C3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4E5EAB-26EB-4795-B57E-BF6102797738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F8D29A-3F99-4569-B458-9B1B3D3DC377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30494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s-ES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s-ES" sz="110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s-E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s-ES" sz="120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s-ES" sz="11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s-ES" sz="110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s-E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s-ES" sz="120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s-E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s-ES" sz="120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s-E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s-ES" sz="120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58C70C-38AA-41B8-857D-2E80BDDEEE7B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97A482-F480-4FC9-89FA-30A1D342305A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BBAB48-2058-4E95-A60B-2E1C9F63F370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9CCB69-A035-447D-BC34-A5F5BC7D949A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DAAA39-4EC7-41CE-AE07-358F5AF2F9D1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EDB73E7-A06A-40D1-83AC-C0CBEEDD7FD8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252B7E2-67CA-41ED-A4CE-7F56ABB38C3E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51B0F33-2D58-41DB-8D19-82DCB0908198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70229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DBA2A0-079F-412F-A73A-75B5BF79EE8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59B26C1-E233-44AD-B9EC-FA94D6DBF298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367FCF-B4F9-4FB7-A8BD-27363E526B49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350B2E-8334-405C-8750-EC39E3B49C95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799D8D-C0C5-48E7-A704-4F5A4057F947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983909-3522-4212-B8B8-737646786FBB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60261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3054138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7245448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41876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65635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173387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9324814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66604991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DA332A-5FDA-44BD-83A8-C1B461175217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F67F89-55D5-4B02-B284-7F2FE86B67EB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2E78B0-7E52-4F46-B724-88B10EB89EA6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67432B8-FB3D-4349-996D-E6D1D3BDB347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A3D08F-3F26-46F9-9CD9-0ADBAB5731B9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1978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7FACB0-195F-4DAB-9FD5-772A304E9FB3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22DAB5-ADF4-4108-87C8-45273001E73C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4A9C4C-AC91-44FE-9CAD-9DD620E45609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DDE4B7-D85A-44AF-845C-90279B2AFB25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995C0B-59B2-45EB-82B6-49685C9259D8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3411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679691-90FD-4587-A54E-DFB71521FB0F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CF8F1C-1E3E-405F-9EE4-66FBDF1175E0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684321-DF53-4F94-AC2F-DB021BF0E4E4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12B143C-7FED-4770-A918-594121085D1C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C642B2-DADB-46AC-8356-6F0CD79CED96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8173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CB959A-6055-48C1-8B60-744EEA67408D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101024-D553-417C-A30B-E18567C0572D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6C064C3-2B90-44CB-A692-944AFC363C1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9749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126C89-B6CA-4F6B-B3C1-AA9C5B3BEABF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DC00AC-C062-4AED-95D9-F70C4895FCE2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5D5E09-FECE-4FFF-9B9B-C42C32A2EF99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7640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47910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9426" y="1665288"/>
            <a:ext cx="9285464" cy="457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168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rgbClr val="86BC25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0562016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rgbClr val="009A44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4562602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chemeClr val="accent2">
              <a:lumMod val="60000"/>
              <a:lumOff val="40000"/>
              <a:alpha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2779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chemeClr val="accent2">
              <a:lumMod val="50000"/>
              <a:alpha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6953368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chemeClr val="accent4">
              <a:lumMod val="60000"/>
              <a:lumOff val="40000"/>
              <a:alpha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5578742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chemeClr val="accent4">
              <a:lumMod val="75000"/>
              <a:alpha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0304070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rgbClr val="00ABAB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5183585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rgbClr val="004F59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1550166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rgbClr val="00A3E0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8529142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chemeClr val="tx1">
              <a:alpha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6908103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5"/>
            <a:ext cx="2766255" cy="4537074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3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53707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6675966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hite, bed&#10;&#10;Description automatically generated">
            <a:extLst>
              <a:ext uri="{FF2B5EF4-FFF2-40B4-BE49-F238E27FC236}">
                <a16:creationId xmlns:a16="http://schemas.microsoft.com/office/drawing/2014/main" id="{2C52424B-9A62-439A-A7EF-AEA92E02ED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0" t="702" r="8270" b="702"/>
          <a:stretch/>
        </p:blipFill>
        <p:spPr>
          <a:xfrm rot="5400000">
            <a:off x="2655936" y="-2655938"/>
            <a:ext cx="6880126" cy="12192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A694ED-55D2-45BD-A0F2-0FDA8BE85FB5}"/>
              </a:ext>
            </a:extLst>
          </p:cNvPr>
          <p:cNvSpPr/>
          <p:nvPr/>
        </p:nvSpPr>
        <p:spPr bwMode="gray">
          <a:xfrm>
            <a:off x="0" y="0"/>
            <a:ext cx="12192000" cy="6880126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55CE3-D78B-4E40-A122-28C05A960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661558"/>
            <a:ext cx="11252200" cy="1534886"/>
          </a:xfrm>
        </p:spPr>
        <p:txBody>
          <a:bodyPr anchor="ctr"/>
          <a:lstStyle>
            <a:lvl1pPr>
              <a:defRPr sz="40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332935841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87B4871-A895-4F6C-A692-6DEF6F3DEE68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A667F0-B7EF-4F5E-92CD-27B38F79EFE4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52F205-6A28-4CF2-82E7-593AAE9D7277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285EA1-DC33-46CE-B815-CA9FB26474F5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99F635-DF12-4FF1-B2D8-1CFACB8F0656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64561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797B33-F6AE-464E-B1F9-AAF8C558042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CA3D77-96FD-468A-A22B-1C767AC6D413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32DEC7-9406-44BE-887F-79F3A098E19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A7342E-A217-47CA-9E98-161AEF5233BC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3362E52-2A38-40CF-8625-9C3462D2DA2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52883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62556F3-FB07-45E1-9730-3CF5E862F61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5EF10F-B1C8-4ED2-A091-1C2F837B31E4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7F0376-6879-40FD-A6B4-26F83074F879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BC15FC-6AEC-4BD9-82F3-7FD995463FBE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D1EE11-791B-44AF-B537-6420CFA468C5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21327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9F65BC-7533-43CA-92A0-A245602E6E6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2DEA33-D70F-464E-8310-21426B95E5BC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E32797-AD95-4579-B2FA-23B4DD034BD8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4B2E0D-A9D5-4CDB-A3DE-36AE96E7AC67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EF5022-6647-4976-B5B2-8124712B97F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73221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6582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292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9D8FB5-512E-4AE2-85D1-AA4F1F315F2C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tulo de la presentación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[Para editar, haga clic en Ver&gt; Patrón de diapositivas&gt; Patrón de diapositivas]]</a:t>
            </a:r>
            <a:endParaRPr lang="es-E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A9AFD0-6583-4D17-9EDD-D356C13BA87E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mas miembro y DTTL: inserte los derechos de autor apropiados </a:t>
            </a:r>
            <a:br>
              <a:rPr lang="es-ES_tradnl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Para editar, haga clic en Ver&gt; Patrón de diapositivas&gt; Patrón de diapositivas]</a:t>
            </a:r>
            <a:endParaRPr lang="es-E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0D7734-13AC-4AE9-B4EF-21500BDC963F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79329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292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62308125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292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18417720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17597810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s-ES" noProof="0" err="1"/>
              <a:t>Click</a:t>
            </a:r>
            <a:r>
              <a:rPr lang="es-ES" noProof="0"/>
              <a:t> </a:t>
            </a:r>
            <a:r>
              <a:rPr lang="es-ES" noProof="0" err="1"/>
              <a:t>to</a:t>
            </a:r>
            <a:r>
              <a:rPr lang="es-ES" noProof="0"/>
              <a:t> </a:t>
            </a:r>
            <a:r>
              <a:rPr lang="es-ES" noProof="0" err="1"/>
              <a:t>add</a:t>
            </a:r>
            <a:r>
              <a:rPr lang="es-ES" noProof="0"/>
              <a:t> </a:t>
            </a:r>
            <a:r>
              <a:rPr lang="es-ES" noProof="0" err="1"/>
              <a:t>subtitle</a:t>
            </a:r>
            <a:endParaRPr lang="es-E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A79BF51F-28ED-6E68-8B1D-EAFB867100A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2" t="21740" r="34361" b="24811"/>
          <a:stretch/>
        </p:blipFill>
        <p:spPr bwMode="auto">
          <a:xfrm>
            <a:off x="10510982" y="183468"/>
            <a:ext cx="1376218" cy="438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2543771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37473493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55099582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04847636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416257105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292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s-ES" noProof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2920" y="1665288"/>
            <a:ext cx="5534662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37052631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1138309036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292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67538657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2920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2920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1470032363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C06D25-A393-4ACC-B0CE-CC5C806EBA40}"/>
              </a:ext>
            </a:extLst>
          </p:cNvPr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C1FECA-1CF7-45E4-926D-481E0195F196}"/>
              </a:ext>
            </a:extLst>
          </p:cNvPr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4B91C1-6C9B-437C-AE43-D3C1EC8947E1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8FC23F1-0CDC-49CC-801E-F3ECCE6427B8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92515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292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292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" noProof="0"/>
              <a:t>Click to edit Master text styles</a:t>
            </a:r>
            <a:endParaRPr lang="es-ES"/>
          </a:p>
          <a:p>
            <a:pPr lvl="1"/>
            <a:r>
              <a:rPr lang="es-ES" noProof="0"/>
              <a:t>Second level</a:t>
            </a:r>
            <a:endParaRPr lang="es-ES"/>
          </a:p>
          <a:p>
            <a:pPr lvl="2"/>
            <a:r>
              <a:rPr lang="es-ES" noProof="0"/>
              <a:t>Third level</a:t>
            </a:r>
            <a:endParaRPr lang="es-ES"/>
          </a:p>
          <a:p>
            <a:pPr lvl="3"/>
            <a:r>
              <a:rPr lang="es-ES" noProof="0"/>
              <a:t>Fourth level</a:t>
            </a:r>
            <a:endParaRPr lang="es-ES"/>
          </a:p>
          <a:p>
            <a:pPr lvl="4"/>
            <a:r>
              <a:rPr lang="es-ES" noProof="0"/>
              <a:t>Fifth level</a:t>
            </a:r>
            <a:endParaRPr lang="es-ES"/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" noProof="0"/>
              <a:t>Click to edit Master text styles</a:t>
            </a:r>
            <a:endParaRPr lang="es-ES"/>
          </a:p>
          <a:p>
            <a:pPr lvl="1"/>
            <a:r>
              <a:rPr lang="es-ES" noProof="0"/>
              <a:t>Second level</a:t>
            </a:r>
            <a:endParaRPr lang="es-ES"/>
          </a:p>
          <a:p>
            <a:pPr lvl="2"/>
            <a:r>
              <a:rPr lang="es-ES" noProof="0"/>
              <a:t>Third level</a:t>
            </a:r>
            <a:endParaRPr lang="es-ES"/>
          </a:p>
          <a:p>
            <a:pPr lvl="3"/>
            <a:r>
              <a:rPr lang="es-ES" noProof="0"/>
              <a:t>Fourth level</a:t>
            </a:r>
            <a:endParaRPr lang="es-ES"/>
          </a:p>
          <a:p>
            <a:pPr lvl="4"/>
            <a:r>
              <a:rPr lang="es-ES" noProof="0"/>
              <a:t>Fifth level</a:t>
            </a:r>
            <a:endParaRPr lang="es-ES"/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" noProof="0"/>
              <a:t>Click to edit Master text styles</a:t>
            </a:r>
            <a:endParaRPr lang="es-ES"/>
          </a:p>
          <a:p>
            <a:pPr lvl="1"/>
            <a:r>
              <a:rPr lang="es-ES" noProof="0"/>
              <a:t>Second level</a:t>
            </a:r>
            <a:endParaRPr lang="es-ES"/>
          </a:p>
          <a:p>
            <a:pPr lvl="2"/>
            <a:r>
              <a:rPr lang="es-ES" noProof="0"/>
              <a:t>Third level</a:t>
            </a:r>
            <a:endParaRPr lang="es-ES"/>
          </a:p>
          <a:p>
            <a:pPr lvl="3"/>
            <a:r>
              <a:rPr lang="es-ES" noProof="0"/>
              <a:t>Fourth level</a:t>
            </a:r>
            <a:endParaRPr lang="es-ES"/>
          </a:p>
          <a:p>
            <a:pPr lvl="4"/>
            <a:r>
              <a:rPr lang="es-ES" noProof="0"/>
              <a:t>Fifth level</a:t>
            </a:r>
            <a:endParaRPr lang="es-E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75118595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rgbClr val="86BC25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s-ES" noProof="0" err="1"/>
              <a:t>Click</a:t>
            </a:r>
            <a:r>
              <a:rPr lang="es-ES" noProof="0"/>
              <a:t> </a:t>
            </a:r>
            <a:r>
              <a:rPr lang="es-ES" noProof="0" err="1"/>
              <a:t>to</a:t>
            </a:r>
            <a:r>
              <a:rPr lang="es-ES" noProof="0"/>
              <a:t> </a:t>
            </a:r>
            <a:r>
              <a:rPr lang="es-ES" noProof="0" err="1"/>
              <a:t>add</a:t>
            </a:r>
            <a:r>
              <a:rPr lang="es-ES" noProof="0"/>
              <a:t> </a:t>
            </a:r>
            <a:r>
              <a:rPr lang="es-ES" noProof="0" err="1"/>
              <a:t>subtit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11875515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80389078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2920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7" name="Rectangle 16"/>
          <p:cNvSpPr/>
          <p:nvPr/>
        </p:nvSpPr>
        <p:spPr>
          <a:xfrm>
            <a:off x="502920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s-E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s-ES" sz="1600" noProof="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s-E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s-ES" sz="1600" noProof="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3D5C7F-B4EF-4679-A378-0C85A224A8EC}"/>
              </a:ext>
            </a:extLst>
          </p:cNvPr>
          <p:cNvSpPr/>
          <p:nvPr/>
        </p:nvSpPr>
        <p:spPr>
          <a:xfrm>
            <a:off x="502920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F26B15-BF75-421E-886E-5AA4D905C9D9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85078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2920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4" name="Rectangle 3"/>
          <p:cNvSpPr/>
          <p:nvPr/>
        </p:nvSpPr>
        <p:spPr>
          <a:xfrm>
            <a:off x="502920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s-E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s-ES" sz="1600" noProof="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292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2" name="Rectangle 11"/>
          <p:cNvSpPr/>
          <p:nvPr/>
        </p:nvSpPr>
        <p:spPr>
          <a:xfrm>
            <a:off x="502920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s-E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s-ES" sz="1600" noProof="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s-E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s-ES" sz="1600" noProof="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s-E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s-ES" sz="1600" noProof="0">
                <a:solidFill>
                  <a:schemeClr val="bg1"/>
                </a:solidFill>
              </a:rPr>
              <a:t>Logo</a:t>
            </a:r>
            <a:endParaRPr lang="es-ES"/>
          </a:p>
          <a:p>
            <a:endParaRPr lang="es-E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C8917C0-4B3E-4749-9CF9-49D42C401DE6}"/>
              </a:ext>
            </a:extLst>
          </p:cNvPr>
          <p:cNvSpPr/>
          <p:nvPr/>
        </p:nvSpPr>
        <p:spPr>
          <a:xfrm>
            <a:off x="502920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B5024DE-E9A4-466B-B2EE-1002C1E3E58D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ACD899-6F8C-462F-BE39-93515052FBEA}"/>
              </a:ext>
            </a:extLst>
          </p:cNvPr>
          <p:cNvSpPr/>
          <p:nvPr/>
        </p:nvSpPr>
        <p:spPr>
          <a:xfrm>
            <a:off x="502920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99B52C0-6366-456E-A671-B0ED078BBA57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s-E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44930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292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611415-A50A-438E-A351-D09D0812780F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E45361-ECA0-42F2-AE7F-D6C0D641B93C}"/>
              </a:ext>
            </a:extLst>
          </p:cNvPr>
          <p:cNvSpPr/>
          <p:nvPr/>
        </p:nvSpPr>
        <p:spPr>
          <a:xfrm>
            <a:off x="50292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C0461F-4AC0-477A-B8E7-0DCB3463AB92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E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837527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292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4006965881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2920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s-ES" noProof="0"/>
              <a:t>Click to add subtitle</a:t>
            </a:r>
            <a:endParaRPr lang="es-E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1931647539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50572743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19649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s-ES" sz="900"/>
              <a:t>Insert sponsorship mark here</a:t>
            </a:r>
            <a:endParaRPr lang="es-E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2709ED3-84FD-4AF8-92AD-CD005917B5F3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1F1E0114-F0A7-467B-8A1A-C9A59C2AA2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A8FCE242-F1D4-4297-8428-C83E012498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97DD4B4-42AB-452A-A6D6-A8FD20B67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CAD1AAB6-7E99-4C8E-B4C5-BDE096522D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7910799C-DC81-4B0E-ADDD-5E686F39AF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199BCC0F-2DCD-4F3F-8BE6-577A494B15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5D7D2CB3-5327-4C8E-B736-C34180802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A1B8BFD-4FD1-4E20-90DA-ED1431F44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287FC850-A3B0-49E6-B45F-D82F173674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03A54152-E7D9-47BA-81F0-736C9BC5E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42005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ackground Picture 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600" cy="6858000"/>
          </a:xfrm>
          <a:prstGeom prst="rect">
            <a:avLst/>
          </a:prstGeom>
        </p:spPr>
      </p:pic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2" name="FLD_PresentationTitle"/>
          <p:cNvSpPr>
            <a:spLocks noGrp="1"/>
          </p:cNvSpPr>
          <p:nvPr>
            <p:ph type="ctrTitle" hasCustomPrompt="1"/>
          </p:nvPr>
        </p:nvSpPr>
        <p:spPr bwMode="gray">
          <a:xfrm>
            <a:off x="475200" y="5480578"/>
            <a:ext cx="5620800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s-ES" noProof="0"/>
              <a:t>Template</a:t>
            </a:r>
          </a:p>
        </p:txBody>
      </p:sp>
      <p:sp>
        <p:nvSpPr>
          <p:cNvPr id="3" name="FLD_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620800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pPr lvl="0"/>
            <a:r>
              <a:rPr lang="es-ES"/>
              <a:t>Subtitle here two lines max</a:t>
            </a:r>
          </a:p>
        </p:txBody>
      </p:sp>
      <p:sp>
        <p:nvSpPr>
          <p:cNvPr id="18" name="SD_ART_Logo_White"/>
          <p:cNvSpPr/>
          <p:nvPr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34507177" name="LogoFrontSlid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99" y="503999"/>
            <a:ext cx="1980000" cy="373584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2"/>
          </p:nvPr>
        </p:nvSpPr>
        <p:spPr>
          <a:xfrm>
            <a:off x="6184900" y="6476999"/>
            <a:ext cx="4536726" cy="244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pic>
        <p:nvPicPr>
          <p:cNvPr id="9" name="Background Picture 3">
            <a:extLst>
              <a:ext uri="{FF2B5EF4-FFF2-40B4-BE49-F238E27FC236}">
                <a16:creationId xmlns:a16="http://schemas.microsoft.com/office/drawing/2014/main" id="{326107AF-BC1B-473E-95B5-B72094998A9A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600" cy="6858000"/>
          </a:xfrm>
          <a:prstGeom prst="rect">
            <a:avLst/>
          </a:prstGeom>
        </p:spPr>
      </p:pic>
      <p:sp>
        <p:nvSpPr>
          <p:cNvPr id="10" name="SD_ART_Logo_White">
            <a:extLst>
              <a:ext uri="{FF2B5EF4-FFF2-40B4-BE49-F238E27FC236}">
                <a16:creationId xmlns:a16="http://schemas.microsoft.com/office/drawing/2014/main" id="{261DC86D-8390-4A24-9F0C-3FAC8E612098}"/>
              </a:ext>
            </a:extLst>
          </p:cNvPr>
          <p:cNvSpPr/>
          <p:nvPr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76085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79425" y="1665289"/>
            <a:ext cx="9299575" cy="4571999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>
                <a:latin typeface="+mn-lt"/>
              </a:defRPr>
            </a:lvl1pPr>
            <a:lvl2pPr>
              <a:tabLst>
                <a:tab pos="6729413" algn="r"/>
              </a:tabLst>
              <a:defRPr>
                <a:latin typeface="+mj-lt"/>
              </a:defRPr>
            </a:lvl2pPr>
            <a:lvl3pPr>
              <a:tabLst>
                <a:tab pos="6729413" algn="r"/>
              </a:tabLst>
              <a:defRPr>
                <a:latin typeface="+mn-lt"/>
              </a:defRPr>
            </a:lvl3pPr>
            <a:lvl4pPr>
              <a:tabLst>
                <a:tab pos="6729413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578628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-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7495E0D-795C-404D-B0F8-DA20286422E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41335" cy="6857999"/>
          </a:xfrm>
          <a:prstGeom prst="rect">
            <a:avLst/>
          </a:prstGeom>
        </p:spPr>
      </p:pic>
      <p:sp>
        <p:nvSpPr>
          <p:cNvPr id="2" name="FLD_PresentationTitle"/>
          <p:cNvSpPr>
            <a:spLocks noGrp="1"/>
          </p:cNvSpPr>
          <p:nvPr>
            <p:ph type="ctrTitle" hasCustomPrompt="1"/>
          </p:nvPr>
        </p:nvSpPr>
        <p:spPr bwMode="gray">
          <a:xfrm>
            <a:off x="475200" y="5181600"/>
            <a:ext cx="5620800" cy="622978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br>
              <a:rPr lang="en-GB"/>
            </a:br>
            <a:r>
              <a:rPr lang="es-ES" noProof="0"/>
              <a:t>Template</a:t>
            </a:r>
          </a:p>
        </p:txBody>
      </p:sp>
      <p:sp>
        <p:nvSpPr>
          <p:cNvPr id="3" name="FLD_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620800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pPr lvl="0"/>
            <a:r>
              <a:rPr lang="es-ES"/>
              <a:t>Subtitle here two lines max</a:t>
            </a:r>
          </a:p>
        </p:txBody>
      </p:sp>
      <p:sp>
        <p:nvSpPr>
          <p:cNvPr id="18" name="SD_ART_Logo_White"/>
          <p:cNvSpPr/>
          <p:nvPr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27072111" name="LogoFrontSlid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99" y="503999"/>
            <a:ext cx="1980000" cy="373584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2"/>
          </p:nvPr>
        </p:nvSpPr>
        <p:spPr>
          <a:xfrm>
            <a:off x="6184900" y="6476999"/>
            <a:ext cx="4536726" cy="244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CE7397-C9EC-4609-8CCB-5AE581E90C1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41335" cy="6857999"/>
          </a:xfrm>
          <a:prstGeom prst="rect">
            <a:avLst/>
          </a:prstGeom>
        </p:spPr>
      </p:pic>
      <p:sp>
        <p:nvSpPr>
          <p:cNvPr id="9" name="SD_ART_Logo_White">
            <a:extLst>
              <a:ext uri="{FF2B5EF4-FFF2-40B4-BE49-F238E27FC236}">
                <a16:creationId xmlns:a16="http://schemas.microsoft.com/office/drawing/2014/main" id="{1BC689BD-A11D-4894-897D-A0A972CCFE81}"/>
              </a:ext>
            </a:extLst>
          </p:cNvPr>
          <p:cNvSpPr/>
          <p:nvPr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97820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 - Whit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2" name="FLD_PresentationTitle"/>
          <p:cNvSpPr>
            <a:spLocks noGrp="1"/>
          </p:cNvSpPr>
          <p:nvPr>
            <p:ph type="ctrTitle" hasCustomPrompt="1"/>
          </p:nvPr>
        </p:nvSpPr>
        <p:spPr bwMode="gray">
          <a:xfrm>
            <a:off x="475200" y="5480578"/>
            <a:ext cx="5620800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s-ES" noProof="0"/>
              <a:t>Template</a:t>
            </a:r>
          </a:p>
        </p:txBody>
      </p:sp>
      <p:sp>
        <p:nvSpPr>
          <p:cNvPr id="3" name="FLD_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620800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pPr lvl="0"/>
            <a:r>
              <a:rPr lang="es-ES"/>
              <a:t>Subtitle here two lines max</a:t>
            </a:r>
          </a:p>
        </p:txBody>
      </p:sp>
      <p:sp>
        <p:nvSpPr>
          <p:cNvPr id="18" name="SD_ART_Logo_White"/>
          <p:cNvSpPr/>
          <p:nvPr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37744732" name="BlackLogo16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200" y="464400"/>
            <a:ext cx="1980000" cy="373584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2"/>
          </p:nvPr>
        </p:nvSpPr>
        <p:spPr>
          <a:xfrm>
            <a:off x="6184900" y="6476999"/>
            <a:ext cx="4536726" cy="2444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D_ART_Logo_White">
            <a:extLst>
              <a:ext uri="{FF2B5EF4-FFF2-40B4-BE49-F238E27FC236}">
                <a16:creationId xmlns:a16="http://schemas.microsoft.com/office/drawing/2014/main" id="{D4BD397A-3789-45F6-98BE-1290B6C005D5}"/>
              </a:ext>
            </a:extLst>
          </p:cNvPr>
          <p:cNvSpPr/>
          <p:nvPr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28286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s-ES" sz="1200" noProof="0"/>
              <a:t>Insert sponsorship mark here</a:t>
            </a:r>
            <a:endParaRPr lang="es-ES" noProof="0"/>
          </a:p>
        </p:txBody>
      </p:sp>
      <p:sp>
        <p:nvSpPr>
          <p:cNvPr id="22" name="LEG_disclaimer"/>
          <p:cNvSpPr>
            <a:spLocks/>
          </p:cNvSpPr>
          <p:nvPr/>
        </p:nvSpPr>
        <p:spPr bwMode="auto">
          <a:xfrm>
            <a:off x="474358" y="3429000"/>
            <a:ext cx="8556230" cy="2870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1019175">
              <a:spcAft>
                <a:spcPts val="0"/>
              </a:spcAft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s-ES" sz="900" noProof="1">
                <a:solidFill>
                  <a:schemeClr val="tx1"/>
                </a:solidFill>
              </a:rPr>
              <a:t>Deloitte hace referencia, individual o conjuntamente, a Deloitte Touche Tohmatsu Limited (“DTTL”) (private company limited by guarantee, de acuerdo con la legislación del Reino Unido), y a su red de firmas miembro y sus entidades asociadas. DTTL y cada una de sus firmas miembro son entidades con personalidad jurídica propia e independiente. DTTL (también denominada "Deloitte Global") no presta servicios a clientes. Consulte la página http://www.deloitte.com/about si desea obtener una descripción detallada de DTTL y sus firmas miembro.
Deloitte presta servicios de auditoría, consultoría, legal, asesoramiento financiero, gestión del riesgo, tributación y otros servicios relacionados, a clientes públicos y privados en un amplio número de sectores. Con una red de firmas miembro interconectadas a escala global que se extiende por más de 150 países y territorios, Deloitte aporta las mejores capacidades y un servicio de máxima calidad a sus clientes, ofreciéndoles la ayuda que necesitan para abordar los complejos desafíos a los que se enfrentan. Los más de 244.000 profesionales de Deloitte han asumido el compromiso de crear un verdadero impacto.
Esta publicación contiene exclusivamente información de carácter general, y ni Deloitte Touche Tohmatsu Limited, ni sus firmas miembro o entidades asociadas (conjuntamente, la “Red Deloitte”), pretenden, por medio de esta publicación, prestar un servicio o asesoramiento profesional. Antes de tomar cualquier decisión o adoptar cualquier medida que pueda afectar a su situación financiera o a su negocio, debe consultar con un asesor profesional cualificado. Ninguna entidad de la Red Deloitte será responsable de las pérdidas sufridas por cualquier persona que actúe basándose en esta publicación.
© 2023 Para más información, póngase en contacto con Deloitte Consulting, S.L.U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SD_ART_Logo"/>
          <p:cNvSpPr/>
          <p:nvPr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460022231" name="LogoDisclaimerP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200" y="464400"/>
            <a:ext cx="1980000" cy="373584"/>
          </a:xfrm>
          <a:prstGeom prst="rect">
            <a:avLst/>
          </a:prstGeom>
        </p:spPr>
      </p:pic>
      <p:sp>
        <p:nvSpPr>
          <p:cNvPr id="7" name="LEG_disclaimer">
            <a:extLst>
              <a:ext uri="{FF2B5EF4-FFF2-40B4-BE49-F238E27FC236}">
                <a16:creationId xmlns:a16="http://schemas.microsoft.com/office/drawing/2014/main" id="{0812588C-F853-4817-8B3C-0B5F04CE8648}"/>
              </a:ext>
            </a:extLst>
          </p:cNvPr>
          <p:cNvSpPr>
            <a:spLocks/>
          </p:cNvSpPr>
          <p:nvPr/>
        </p:nvSpPr>
        <p:spPr bwMode="auto">
          <a:xfrm>
            <a:off x="474358" y="3429000"/>
            <a:ext cx="8556230" cy="2870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1019175">
              <a:spcAft>
                <a:spcPts val="0"/>
              </a:spcAft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s-ES" sz="900" noProof="1">
                <a:solidFill>
                  <a:schemeClr val="tx1"/>
                </a:solidFill>
              </a:rPr>
              <a:t>Deloitte hace referencia, individual o conjuntamente, a Deloitte Touche Tohmatsu Limited (“DTTL”) (private company limited by guarantee, de acuerdo con la legislación del Reino Unido), y a su red de firmas miembro y sus entidades asociadas. DTTL y cada una de sus firmas miembro son entidades con personalidad jurídica propia e independiente. DTTL (también denominada "Deloitte Global") no presta servicios a clientes. Consulte la página http://www.deloitte.com/about si desea obtener una descripción detallada de DTTL y sus firmas miembro.
Deloitte presta servicios de auditoría, consultoría, legal, asesoramiento financiero, gestión del riesgo, tributación y otros servicios relacionados, a clientes públicos y privados en un amplio número de sectores. Con una red de firmas miembro interconectadas a escala global que se extiende por más de 150 países y territorios, Deloitte aporta las mejores capacidades y un servicio de máxima calidad a sus clientes, ofreciéndoles la ayuda que necesitan para abordar los complejos desafíos a los que se enfrentan. Los más de 244.000 profesionales de Deloitte han asumido el compromiso de crear un verdadero impacto.
Esta publicación contiene exclusivamente información de carácter general, y ni Deloitte Touche Tohmatsu Limited, ni sus firmas miembro o entidades asociadas (conjuntamente, la “Red Deloitte”), pretenden, por medio de esta publicación, prestar un servicio o asesoramiento profesional. Antes de tomar cualquier decisión o adoptar cualquier medida que pueda afectar a su situación financiera o a su negocio, debe consultar con un asesor profesional cualificado. Ninguna entidad de la Red Deloitte será responsable de las pérdidas sufridas por cualquier persona que actúe basándose en esta publicación.
© 2023 Para más información, póngase en contacto con Deloitte Consulting, S.L.U.</a:t>
            </a:r>
          </a:p>
        </p:txBody>
      </p:sp>
      <p:sp>
        <p:nvSpPr>
          <p:cNvPr id="9" name="SD_ART_Logo">
            <a:extLst>
              <a:ext uri="{FF2B5EF4-FFF2-40B4-BE49-F238E27FC236}">
                <a16:creationId xmlns:a16="http://schemas.microsoft.com/office/drawing/2014/main" id="{A5DAEDF6-5F71-46E4-A457-A2038E62B278}"/>
              </a:ext>
            </a:extLst>
          </p:cNvPr>
          <p:cNvSpPr/>
          <p:nvPr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14474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826484"/>
              </p:ext>
            </p:extLst>
          </p:nvPr>
        </p:nvGraphicFramePr>
        <p:xfrm>
          <a:off x="1811" y="1442"/>
          <a:ext cx="181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7" imgH="288" progId="TCLayout.ActiveDocument.1">
                  <p:embed/>
                </p:oleObj>
              </mc:Choice>
              <mc:Fallback>
                <p:oleObj name="think-cell Slide" r:id="rId4" imgW="287" imgH="28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2"/>
                        <a:ext cx="181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0"/>
            <a:ext cx="181024" cy="144015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s-ES_tradnl" sz="1814" b="0" i="0" baseline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199" y="1478490"/>
            <a:ext cx="11201795" cy="49102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spcAft>
                <a:spcPts val="907"/>
              </a:spcAft>
              <a:defRPr sz="1089"/>
            </a:lvl1pPr>
            <a:lvl2pPr>
              <a:lnSpc>
                <a:spcPct val="110000"/>
              </a:lnSpc>
              <a:spcAft>
                <a:spcPts val="907"/>
              </a:spcAft>
              <a:defRPr sz="1089"/>
            </a:lvl2pPr>
            <a:lvl3pPr>
              <a:lnSpc>
                <a:spcPct val="110000"/>
              </a:lnSpc>
              <a:spcAft>
                <a:spcPts val="907"/>
              </a:spcAft>
              <a:defRPr sz="1089"/>
            </a:lvl3pPr>
            <a:lvl4pPr>
              <a:lnSpc>
                <a:spcPct val="110000"/>
              </a:lnSpc>
              <a:spcAft>
                <a:spcPts val="907"/>
              </a:spcAft>
              <a:defRPr sz="1089"/>
            </a:lvl4pPr>
            <a:lvl5pPr>
              <a:lnSpc>
                <a:spcPct val="110000"/>
              </a:lnSpc>
              <a:spcAft>
                <a:spcPts val="907"/>
              </a:spcAft>
              <a:defRPr sz="1089"/>
            </a:lvl5pPr>
          </a:lstStyle>
          <a:p>
            <a:pPr lvl="0"/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  <a:p>
            <a:pPr lvl="1"/>
            <a:r>
              <a:rPr lang="es-ES_tradnl" err="1"/>
              <a:t>Second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  <a:p>
            <a:pPr lvl="2"/>
            <a:r>
              <a:rPr lang="es-ES_tradnl" err="1"/>
              <a:t>Third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  <a:p>
            <a:pPr lvl="3"/>
            <a:r>
              <a:rPr lang="es-ES_tradnl" err="1"/>
              <a:t>Fourth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  <a:p>
            <a:pPr lvl="4"/>
            <a:r>
              <a:rPr lang="es-ES_tradnl" err="1"/>
              <a:t>Fifth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424141A4-09A2-46A1-8E40-4B0854473D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918" y="635534"/>
            <a:ext cx="11250164" cy="3265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s-ES_tradnl" sz="1996" b="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684"/>
              </a:spcBef>
              <a:spcAft>
                <a:spcPts val="0"/>
              </a:spcAft>
              <a:buSzPct val="100000"/>
              <a:buFont typeface="Arial" panose="020B0604020202020204" pitchFamily="34" charset="0"/>
            </a:pPr>
            <a:r>
              <a:rPr lang="en-US"/>
              <a:t>Click to add 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3784199-1091-4F7F-9BA4-C0E437DDA4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0918" y="292738"/>
            <a:ext cx="11250164" cy="306431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>
              <a:defRPr lang="es-ES_tradnl" sz="1996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9054966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92615" y="1665292"/>
            <a:ext cx="9300810" cy="4716463"/>
          </a:xfrm>
          <a:prstGeom prst="rect">
            <a:avLst/>
          </a:prstGeom>
        </p:spPr>
        <p:txBody>
          <a:bodyPr/>
          <a:lstStyle>
            <a:lvl1pPr>
              <a:tabLst>
                <a:tab pos="8139858" algn="r"/>
              </a:tabLst>
              <a:defRPr/>
            </a:lvl1pPr>
            <a:lvl2pPr>
              <a:tabLst>
                <a:tab pos="8139858" algn="r"/>
              </a:tabLst>
              <a:defRPr/>
            </a:lvl2pPr>
            <a:lvl3pPr>
              <a:tabLst>
                <a:tab pos="8139858" algn="r"/>
              </a:tabLst>
              <a:defRPr/>
            </a:lvl3pPr>
            <a:lvl4pPr>
              <a:tabLst>
                <a:tab pos="8139858" algn="r"/>
              </a:tabLst>
              <a:defRPr/>
            </a:lvl4pPr>
            <a:lvl5pPr>
              <a:tabLst>
                <a:tab pos="6083291" algn="r"/>
              </a:tabLst>
              <a:defRPr baseline="0"/>
            </a:lvl5pPr>
            <a:lvl6pPr marL="431099" indent="0">
              <a:buNone/>
              <a:tabLst>
                <a:tab pos="8139858" algn="r"/>
              </a:tabLst>
              <a:defRPr/>
            </a:lvl6pPr>
            <a:lvl7pPr>
              <a:tabLst>
                <a:tab pos="8139858" algn="r"/>
              </a:tabLst>
              <a:defRPr/>
            </a:lvl7pPr>
            <a:lvl8pPr>
              <a:tabLst>
                <a:tab pos="8139858" algn="r"/>
              </a:tabLst>
              <a:defRPr/>
            </a:lvl8pPr>
            <a:lvl9pPr>
              <a:tabLst>
                <a:tab pos="8139858" algn="r"/>
              </a:tabLst>
              <a:defRPr/>
            </a:lvl9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2615" y="317506"/>
            <a:ext cx="11203378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0651378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1EAAA998-1F16-4F99-A6B9-773045203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466" y="502418"/>
            <a:ext cx="10841334" cy="1492689"/>
          </a:xfrm>
          <a:prstGeom prst="rect">
            <a:avLst/>
          </a:prstGeom>
        </p:spPr>
        <p:txBody>
          <a:bodyPr/>
          <a:lstStyle>
            <a:lvl1pPr>
              <a:defRPr sz="1800" b="1">
                <a:latin typeface="+mj-lt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36430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747575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6766492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9900" y="1182688"/>
            <a:ext cx="11252200" cy="552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520" algn="r"/>
              </a:tabLst>
              <a:defRPr sz="1200">
                <a:latin typeface="+mj-lt"/>
                <a:cs typeface="Arial" panose="020B0604020202020204" pitchFamily="34" charset="0"/>
              </a:defRPr>
            </a:lvl1pPr>
            <a:lvl2pPr>
              <a:tabLst>
                <a:tab pos="6705520" algn="r"/>
              </a:tabLst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tabLst>
                <a:tab pos="6705520" algn="r"/>
              </a:tabLst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tabLst>
                <a:tab pos="6705520" algn="r"/>
              </a:tabLst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tabLst>
                <a:tab pos="6705520" algn="r"/>
              </a:tabLst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36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155287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s-ES" noProof="0"/>
              <a:t>Click to add title</a:t>
            </a:r>
            <a:endParaRPr lang="es-ES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53548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s-ES" noProof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571999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193204105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theme" Target="../theme/theme1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1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0"/>
            </p:custDataLst>
            <p:extLst>
              <p:ext uri="{D42A27DB-BD31-4B8C-83A1-F6EECF244321}">
                <p14:modId xmlns:p14="http://schemas.microsoft.com/office/powerpoint/2010/main" val="3636573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1" imgW="270" imgH="270" progId="TCLayout.ActiveDocument.1">
                  <p:embed/>
                </p:oleObj>
              </mc:Choice>
              <mc:Fallback>
                <p:oleObj name="think-cell Slide" r:id="rId9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79424" y="317501"/>
            <a:ext cx="11242675" cy="241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 noProof="0"/>
              <a:t>Haga clic para modificar el estilo de título del patró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s-ES" sz="800" noProof="1">
                <a:solidFill>
                  <a:schemeClr val="tx1"/>
                </a:solidFill>
              </a:rPr>
              <a:t>© 2024 Deloitte Consulting, S.L.U.</a:t>
            </a:r>
            <a:endParaRPr lang="es-ES" sz="8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79425" y="1665289"/>
            <a:ext cx="11242675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s-ES" noProof="0"/>
              <a:t>Haga clic para modificar los estilos de texto del patrón</a:t>
            </a:r>
            <a:endParaRPr lang="es-ES"/>
          </a:p>
          <a:p>
            <a:pPr lvl="1"/>
            <a:r>
              <a:rPr lang="es-ES" noProof="0"/>
              <a:t>Segundo nivel</a:t>
            </a:r>
            <a:endParaRPr lang="es-ES"/>
          </a:p>
          <a:p>
            <a:pPr lvl="2"/>
            <a:r>
              <a:rPr lang="es-ES" noProof="0"/>
              <a:t>Tercer nivel</a:t>
            </a:r>
            <a:endParaRPr lang="es-ES"/>
          </a:p>
          <a:p>
            <a:pPr lvl="3"/>
            <a:r>
              <a:rPr lang="es-ES" noProof="0"/>
              <a:t>Cuarto nivel</a:t>
            </a:r>
            <a:endParaRPr lang="es-ES"/>
          </a:p>
          <a:p>
            <a:pPr lvl="4"/>
            <a:r>
              <a:rPr lang="es-ES" noProof="0"/>
              <a:t>Quinto ni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s-E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º›</a:t>
            </a:fld>
            <a:endParaRPr lang="es-E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1800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200">
          <p15:clr>
            <a:srgbClr val="F26B43"/>
          </p15:clr>
        </p15:guide>
        <p15:guide id="43" pos="302">
          <p15:clr>
            <a:srgbClr val="F26B43"/>
          </p15:clr>
        </p15:guide>
        <p15:guide id="44" pos="5586">
          <p15:clr>
            <a:srgbClr val="F26B43"/>
          </p15:clr>
        </p15:guide>
        <p15:guide id="45" pos="3772">
          <p15:clr>
            <a:srgbClr val="F26B43"/>
          </p15:clr>
        </p15:guide>
        <p15:guide id="46" pos="1958">
          <p15:clr>
            <a:srgbClr val="F26B43"/>
          </p15:clr>
        </p15:guide>
        <p15:guide id="47" pos="2116">
          <p15:clr>
            <a:srgbClr val="F26B43"/>
          </p15:clr>
        </p15:guide>
        <p15:guide id="48" pos="5745">
          <p15:clr>
            <a:srgbClr val="F26B43"/>
          </p15:clr>
        </p15:guide>
        <p15:guide id="49" orient="horz" pos="3929">
          <p15:clr>
            <a:srgbClr val="F26B43"/>
          </p15:clr>
        </p15:guide>
        <p15:guide id="50" pos="7384">
          <p15:clr>
            <a:srgbClr val="F26B43"/>
          </p15:clr>
        </p15:guide>
        <p15:guide id="51" orient="horz" pos="4065">
          <p15:clr>
            <a:srgbClr val="F26B43"/>
          </p15:clr>
        </p15:guide>
        <p15:guide id="52" pos="3931">
          <p15:clr>
            <a:srgbClr val="F26B43"/>
          </p15:clr>
        </p15:guide>
        <p15:guide id="53" orient="horz" pos="1049">
          <p15:clr>
            <a:srgbClr val="F26B43"/>
          </p15:clr>
        </p15:guide>
        <p15:guide id="54" orient="horz" pos="6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8C57B9B-32B9-4921-AA89-4CA8CEA099AE}"/>
              </a:ext>
            </a:extLst>
          </p:cNvPr>
          <p:cNvSpPr/>
          <p:nvPr/>
        </p:nvSpPr>
        <p:spPr bwMode="gray">
          <a:xfrm>
            <a:off x="7864248" y="1637955"/>
            <a:ext cx="4327752" cy="522004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E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Titel 15">
            <a:extLst>
              <a:ext uri="{FF2B5EF4-FFF2-40B4-BE49-F238E27FC236}">
                <a16:creationId xmlns:a16="http://schemas.microsoft.com/office/drawing/2014/main" id="{06B34D4C-FB4A-949A-EE6C-F6BF4B874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</p:spPr>
        <p:txBody>
          <a:bodyPr/>
          <a:lstStyle/>
          <a:p>
            <a:r>
              <a:rPr lang="es-ES_tradnl"/>
              <a:t>Equipo de Trabajo y Estructura</a:t>
            </a:r>
          </a:p>
        </p:txBody>
      </p:sp>
      <p:sp>
        <p:nvSpPr>
          <p:cNvPr id="8" name="TextBox 13">
            <a:extLst>
              <a:ext uri="{FF2B5EF4-FFF2-40B4-BE49-F238E27FC236}">
                <a16:creationId xmlns:a16="http://schemas.microsoft.com/office/drawing/2014/main" id="{91FCAFEB-424F-765A-2A49-1C016CD420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170" y="801836"/>
            <a:ext cx="747607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2114" rtl="0" eaLnBrk="1" fontAlgn="auto" latinLnBrk="0" hangingPunct="1">
              <a:lnSpc>
                <a:spcPct val="100000"/>
              </a:lnSpc>
              <a:spcBef>
                <a:spcPts val="499"/>
              </a:spcBef>
              <a:spcAft>
                <a:spcPts val="499"/>
              </a:spcAft>
              <a:buClr>
                <a:srgbClr val="002060"/>
              </a:buClr>
              <a:buSzPct val="80000"/>
              <a:buFontTx/>
              <a:buNone/>
              <a:tabLst/>
              <a:defRPr/>
            </a:pPr>
            <a:r>
              <a:rPr kumimoji="0" lang="es-ES" sz="1600" b="1" i="0" u="none" strike="noStrike" kern="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Vs</a:t>
            </a:r>
          </a:p>
        </p:txBody>
      </p:sp>
      <p:sp>
        <p:nvSpPr>
          <p:cNvPr id="7" name="AutoShape 32">
            <a:extLst>
              <a:ext uri="{FF2B5EF4-FFF2-40B4-BE49-F238E27FC236}">
                <a16:creationId xmlns:a16="http://schemas.microsoft.com/office/drawing/2014/main" id="{E70A6AB2-D2BB-C010-381C-F4FC17337A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7311" y="1980998"/>
            <a:ext cx="7584639" cy="4762702"/>
          </a:xfrm>
          <a:prstGeom prst="roundRect">
            <a:avLst>
              <a:gd name="adj" fmla="val 4223"/>
            </a:avLst>
          </a:prstGeom>
          <a:solidFill>
            <a:schemeClr val="bg1"/>
          </a:solidFill>
          <a:ln>
            <a:noFill/>
          </a:ln>
          <a:effectLst>
            <a:outerShdw blurRad="139700" sx="101000" sy="101000" algn="ctr" rotWithShape="0">
              <a:srgbClr val="000000">
                <a:alpha val="20000"/>
              </a:srgbClr>
            </a:outerShdw>
          </a:effectLst>
        </p:spPr>
        <p:txBody>
          <a:bodyPr lIns="108000" tIns="108000" rIns="108000" bIns="72000" anchor="t"/>
          <a:lstStyle/>
          <a:p>
            <a:pPr marL="0" marR="0" lvl="0" indent="0" algn="l" defTabSz="121917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1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rayectoria profesional</a:t>
            </a:r>
          </a:p>
          <a:p>
            <a:pPr marL="171450" indent="-171450" defTabSz="1219170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Consultora especializada en procesos de consolidación y presupuestación con la solución SAP BPC</a:t>
            </a:r>
          </a:p>
          <a:p>
            <a:pPr marL="171450" indent="-171450" defTabSz="1219170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Más de 8 años de experiencia en consultoría, participando en proyectos de EPM-SAP BPC en versiones de </a:t>
            </a:r>
            <a:r>
              <a:rPr lang="es-ES" sz="1000" dirty="0" err="1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Netweaver</a:t>
            </a: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 y Microsoft. Involucrada en el diseño de procesos de consolidación, proyectos de migración, implementación y soporte en los módulos de presupuestación y consolidación</a:t>
            </a:r>
          </a:p>
          <a:p>
            <a:pPr marL="171450" indent="-171450" defTabSz="1219170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Clientes nacionales e internacionales en Alemania, Reino Unido, India y España</a:t>
            </a:r>
            <a:endParaRPr lang="es-ES_tradnl" sz="1000" dirty="0">
              <a:solidFill>
                <a:prstClr val="black"/>
              </a:solidFill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1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oyectos relevantes</a:t>
            </a:r>
            <a:endParaRPr kumimoji="0" lang="es-ES_tradnl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92075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Sacyr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000" dirty="0" err="1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Integracíón</a:t>
            </a: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 del proyecto de </a:t>
            </a:r>
            <a:r>
              <a:rPr lang="es-ES" sz="1000" dirty="0" err="1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RollOut</a:t>
            </a: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 SAP BPC de los negocios de Sacyr en USA y Canadá</a:t>
            </a:r>
          </a:p>
          <a:p>
            <a:pPr marL="92075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Ferrovial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Soporte de los módulos de consolidación y presupuestación en SAP BPC 7.5 y nuevos desarrollos: input </a:t>
            </a:r>
            <a:r>
              <a:rPr lang="es-ES" sz="1000" dirty="0" err="1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schedules</a:t>
            </a: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s-ES" sz="1000" dirty="0" err="1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reporting</a:t>
            </a: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s-ES" sz="1000" dirty="0" err="1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business</a:t>
            </a:r>
            <a:r>
              <a:rPr lang="es-ES" sz="1000" dirty="0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 rules, seguridad y script </a:t>
            </a:r>
            <a:r>
              <a:rPr lang="es-ES" sz="1000" dirty="0" err="1">
                <a:solidFill>
                  <a:prstClr val="black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logics</a:t>
            </a:r>
            <a:endParaRPr lang="es-ES" sz="1000" dirty="0">
              <a:solidFill>
                <a:prstClr val="black"/>
              </a:solidFill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92075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 kern="0" dirty="0" err="1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Velatia</a:t>
            </a:r>
            <a:endParaRPr lang="es-ES" sz="1000" kern="0" dirty="0">
              <a:solidFill>
                <a:srgbClr val="000000"/>
              </a:solidFill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Mejoras y soporte en los procesos de consolidación en SAP BPC 7.5 </a:t>
            </a:r>
            <a:r>
              <a:rPr lang="en-U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(NW)</a:t>
            </a:r>
            <a:endParaRPr lang="es-ES" sz="1000" kern="0" dirty="0">
              <a:solidFill>
                <a:srgbClr val="000000"/>
              </a:solidFill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92075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Vodafon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Responsable de la integración del módulo de consolidación en Vodafone. Las principales tareas fueron análisis, diseño, implementación y reporte con </a:t>
            </a:r>
            <a:r>
              <a:rPr lang="en-U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SAP BPC-EPM Add In 10.0</a:t>
            </a:r>
          </a:p>
          <a:p>
            <a:pPr marL="92075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Ponte Gadea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Responsable de la migración de la herramienta de consolidación SAP BPC. Desde la versión 7.0 (MS) a SAP BPC-EPM </a:t>
            </a:r>
            <a:r>
              <a:rPr lang="es-ES" sz="1000" kern="0" dirty="0" err="1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Add</a:t>
            </a: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 In 10.1 (MS) y mejoras: </a:t>
            </a:r>
            <a:r>
              <a:rPr lang="en-U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business rules, </a:t>
            </a:r>
            <a:r>
              <a:rPr lang="en-US" sz="1000" kern="0" dirty="0" err="1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administrador</a:t>
            </a:r>
            <a:r>
              <a:rPr lang="en-U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, input schedules y EPM Add In reporting, </a:t>
            </a: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script </a:t>
            </a:r>
            <a:r>
              <a:rPr lang="es-ES" sz="1000" kern="0" dirty="0" err="1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logics</a:t>
            </a: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, paquetes, seguridad</a:t>
            </a:r>
          </a:p>
          <a:p>
            <a:pPr marL="92075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Amadeu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Realización de desarrollos en el módulo de presupuestación con SAP BPC 10.0 (MS)</a:t>
            </a:r>
          </a:p>
          <a:p>
            <a:pPr marL="92075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Santander </a:t>
            </a:r>
            <a:r>
              <a:rPr lang="es-ES" sz="1000" kern="0" dirty="0" err="1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Consumer</a:t>
            </a: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 Bank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Gestión de proyectos d</a:t>
            </a:r>
            <a:r>
              <a:rPr lang="en-US" sz="1000" kern="0" dirty="0" err="1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el</a:t>
            </a:r>
            <a:r>
              <a:rPr lang="en-U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000" kern="0" dirty="0" err="1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departamento</a:t>
            </a:r>
            <a:r>
              <a:rPr lang="en-U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 Financial Accounting &amp; Management Control</a:t>
            </a:r>
          </a:p>
          <a:p>
            <a:pPr marL="92075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Repsol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_tradnl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Implementación de la solución </a:t>
            </a:r>
            <a:r>
              <a:rPr lang="es-ES_tradnl" sz="1000" kern="0" dirty="0" err="1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Anaplan</a:t>
            </a:r>
            <a:endParaRPr lang="es-ES" sz="1000" kern="0" dirty="0">
              <a:solidFill>
                <a:srgbClr val="000000"/>
              </a:solidFill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s-ES" sz="1000" kern="0" dirty="0">
              <a:solidFill>
                <a:srgbClr val="000000"/>
              </a:solidFill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endParaRPr lang="es-ES" sz="1000" dirty="0">
              <a:solidFill>
                <a:prstClr val="black"/>
              </a:solidFill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AutoShape 79">
            <a:extLst>
              <a:ext uri="{FF2B5EF4-FFF2-40B4-BE49-F238E27FC236}">
                <a16:creationId xmlns:a16="http://schemas.microsoft.com/office/drawing/2014/main" id="{82518B51-AEF7-F8A0-975C-64FF41ADEA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135" y="1880330"/>
            <a:ext cx="2760985" cy="472206"/>
          </a:xfrm>
          <a:prstGeom prst="chevron">
            <a:avLst>
              <a:gd name="adj" fmla="val 0"/>
            </a:avLst>
          </a:prstGeom>
          <a:noFill/>
          <a:ln w="19050" cap="rnd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altLang="es-ES" sz="105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itchFamily="34" charset="-128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2CD935-4843-4123-17BA-715A7D17BD88}"/>
              </a:ext>
            </a:extLst>
          </p:cNvPr>
          <p:cNvSpPr/>
          <p:nvPr/>
        </p:nvSpPr>
        <p:spPr bwMode="gray">
          <a:xfrm>
            <a:off x="0" y="1357598"/>
            <a:ext cx="12192000" cy="582228"/>
          </a:xfrm>
          <a:prstGeom prst="rect">
            <a:avLst/>
          </a:prstGeom>
          <a:gradFill flip="none" rotWithShape="1">
            <a:gsLst>
              <a:gs pos="0">
                <a:srgbClr val="002C58"/>
              </a:gs>
              <a:gs pos="50000">
                <a:srgbClr val="0099BB"/>
              </a:gs>
              <a:gs pos="100000">
                <a:srgbClr val="00AFD2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ES_tradnl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AutoShape 79">
            <a:extLst>
              <a:ext uri="{FF2B5EF4-FFF2-40B4-BE49-F238E27FC236}">
                <a16:creationId xmlns:a16="http://schemas.microsoft.com/office/drawing/2014/main" id="{AF03E930-0E87-17F9-5E8F-A1A81530F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134" y="1398770"/>
            <a:ext cx="4947417" cy="472206"/>
          </a:xfrm>
          <a:prstGeom prst="chevron">
            <a:avLst>
              <a:gd name="adj" fmla="val 0"/>
            </a:avLst>
          </a:prstGeom>
          <a:noFill/>
          <a:ln w="19050" cap="rnd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l" defTabSz="9277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ja-JP" sz="1400" b="0" i="0" u="none" strike="noStrike" kern="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LAURA TERRADILLOS CALZADA</a:t>
            </a:r>
          </a:p>
          <a:p>
            <a:pPr marL="0" marR="0" lvl="0" indent="0" algn="l" defTabSz="92777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altLang="ja-JP" sz="1400" kern="0" spc="300" dirty="0">
                <a:solidFill>
                  <a:prstClr val="white"/>
                </a:solidFill>
                <a:latin typeface="Calibri"/>
                <a:cs typeface="Arial" pitchFamily="34" charset="0"/>
              </a:rPr>
              <a:t>Jefe de equipo</a:t>
            </a:r>
            <a:r>
              <a:rPr kumimoji="0" lang="es-ES" altLang="ja-JP" sz="1400" b="0" i="0" u="none" strike="noStrike" kern="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: 8 años de experiencia</a:t>
            </a:r>
          </a:p>
        </p:txBody>
      </p:sp>
      <p:sp>
        <p:nvSpPr>
          <p:cNvPr id="18" name="AutoShape 79">
            <a:extLst>
              <a:ext uri="{FF2B5EF4-FFF2-40B4-BE49-F238E27FC236}">
                <a16:creationId xmlns:a16="http://schemas.microsoft.com/office/drawing/2014/main" id="{E0E52A99-4D29-69D7-294C-EB8CE658D7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7710" y="1412609"/>
            <a:ext cx="2498945" cy="472206"/>
          </a:xfrm>
          <a:prstGeom prst="chevron">
            <a:avLst>
              <a:gd name="adj" fmla="val 0"/>
            </a:avLst>
          </a:prstGeom>
          <a:noFill/>
          <a:ln w="19050" cap="rnd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altLang="es-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+mn-cs"/>
              </a:rPr>
              <a:t>ROL EN EL PROYECTO:</a:t>
            </a:r>
            <a:endParaRPr kumimoji="0" lang="es-ES_tradnl" altLang="es-E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ＭＳ Ｐゴシック" pitchFamily="34" charset="-128"/>
              <a:cs typeface="+mn-cs"/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A50D47B4-A03D-500F-D570-8880EC589097}"/>
              </a:ext>
            </a:extLst>
          </p:cNvPr>
          <p:cNvSpPr txBox="1">
            <a:spLocks/>
          </p:cNvSpPr>
          <p:nvPr/>
        </p:nvSpPr>
        <p:spPr>
          <a:xfrm>
            <a:off x="8244830" y="2268198"/>
            <a:ext cx="3764290" cy="4320307"/>
          </a:xfrm>
          <a:prstGeom prst="rect">
            <a:avLst/>
          </a:prstGeom>
          <a:ln w="12700">
            <a:noFill/>
            <a:prstDash val="solid"/>
          </a:ln>
        </p:spPr>
        <p:txBody>
          <a:bodyPr lIns="108000" tIns="72000" rIns="36000" bIns="72000" rtlCol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Principales clientes</a:t>
            </a:r>
          </a:p>
          <a:p>
            <a:pPr marL="176213" marR="0" lvl="0" indent="-84138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Sacyr</a:t>
            </a:r>
          </a:p>
          <a:p>
            <a:pPr marL="176213" marR="0" lvl="0" indent="-84138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Ferrovial</a:t>
            </a:r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6213" marR="0" lvl="0" indent="-84138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Vodafone</a:t>
            </a:r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6213" marR="0" lvl="0" indent="-84138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Ponte Gadea</a:t>
            </a:r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6213" marR="0" lvl="0" indent="-84138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Amadeus</a:t>
            </a:r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6213" marR="0" lvl="0" indent="-84138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Santander </a:t>
            </a:r>
            <a:r>
              <a:rPr lang="pt-BR" sz="1000" kern="0" dirty="0" err="1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Consumer</a:t>
            </a:r>
            <a:r>
              <a:rPr lang="pt-BR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 Bank</a:t>
            </a:r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6213" marR="0" lvl="0" indent="-84138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sz="1000" kern="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Repsol</a:t>
            </a:r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92075" marR="0" lvl="0" indent="0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Formación académica y titulaciones</a:t>
            </a:r>
          </a:p>
          <a:p>
            <a:pPr marL="92072" marR="0" lvl="5" indent="-92072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s-ES" sz="100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Máster en Dirección Administrativo-Financiera</a:t>
            </a:r>
          </a:p>
          <a:p>
            <a:pPr marL="92072" marR="0" lvl="5" indent="-92072" algn="l" defTabSz="1219170" rtl="0" eaLnBrk="1" fontAlgn="auto" latinLnBrk="0" hangingPunct="1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s-ES" sz="1000" dirty="0">
                <a:solidFill>
                  <a:srgbClr val="000000"/>
                </a:solidFill>
                <a:latin typeface="Calibri Light"/>
                <a:ea typeface="Open Sans" panose="020B0606030504020204" pitchFamily="34" charset="0"/>
                <a:cs typeface="Open Sans" panose="020B0606030504020204" pitchFamily="34" charset="0"/>
              </a:rPr>
              <a:t>Licenciada en Economía</a:t>
            </a:r>
          </a:p>
        </p:txBody>
      </p:sp>
      <p:sp>
        <p:nvSpPr>
          <p:cNvPr id="6" name="Diagrama de flujo: conector 5">
            <a:extLst>
              <a:ext uri="{FF2B5EF4-FFF2-40B4-BE49-F238E27FC236}">
                <a16:creationId xmlns:a16="http://schemas.microsoft.com/office/drawing/2014/main" id="{7CE0BF76-F187-EEBE-A3D8-37502529D207}"/>
              </a:ext>
            </a:extLst>
          </p:cNvPr>
          <p:cNvSpPr/>
          <p:nvPr/>
        </p:nvSpPr>
        <p:spPr>
          <a:xfrm>
            <a:off x="8674084" y="1271522"/>
            <a:ext cx="780783" cy="754380"/>
          </a:xfrm>
          <a:prstGeom prst="flowChartConnector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750512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1LudcfRkCGw54JsKDVBw"/>
</p:tagLst>
</file>

<file path=ppt/theme/theme1.xml><?xml version="1.0" encoding="utf-8"?>
<a:theme xmlns:a="http://schemas.openxmlformats.org/drawingml/2006/main" name="Deloitte_Brand Theme_FY23 (PF)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Brand Theme_FY23 (PF)" id="{50A1B80F-94A7-4BE3-9B71-1A23140E36C4}" vid="{DB7B1F07-EE4A-497E-9582-84B04EEA336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</TotalTime>
  <Words>300</Words>
  <Application>Microsoft Office PowerPoint</Application>
  <PresentationFormat>Panorámica</PresentationFormat>
  <Paragraphs>39</Paragraphs>
  <Slides>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Light</vt:lpstr>
      <vt:lpstr>Open Sans Light</vt:lpstr>
      <vt:lpstr>Verdana</vt:lpstr>
      <vt:lpstr>Wingdings</vt:lpstr>
      <vt:lpstr>Wingdings 2</vt:lpstr>
      <vt:lpstr>Deloitte_Brand Theme_FY23 (PF)</vt:lpstr>
      <vt:lpstr>think-cell Slide</vt:lpstr>
      <vt:lpstr>Equipo de Trabajo y Estructur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quipo de Trabajo y Estructura</dc:title>
  <dc:creator>Simo Llopis Poncell</dc:creator>
  <cp:lastModifiedBy>Terradillos Calzada, Laura</cp:lastModifiedBy>
  <cp:revision>2</cp:revision>
  <dcterms:created xsi:type="dcterms:W3CDTF">2024-03-21T14:34:10Z</dcterms:created>
  <dcterms:modified xsi:type="dcterms:W3CDTF">2024-03-22T08:1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4-03-21T14:34:27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0ab04660-c3ce-4393-bba1-c63bf435e689</vt:lpwstr>
  </property>
  <property fmtid="{D5CDD505-2E9C-101B-9397-08002B2CF9AE}" pid="8" name="MSIP_Label_ea60d57e-af5b-4752-ac57-3e4f28ca11dc_ContentBits">
    <vt:lpwstr>0</vt:lpwstr>
  </property>
</Properties>
</file>